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5525" r:id="rId5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80D2"/>
    <a:srgbClr val="D9D1EF"/>
    <a:srgbClr val="5439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B30FB9-4AF7-4A68-9859-19E23DF2CBBA}" v="1" dt="2023-02-19T15:32:24.5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512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ddalena Lauzi" userId="557e88c1-5a49-4d16-a40c-0dc96e651537" providerId="ADAL" clId="{38B30FB9-4AF7-4A68-9859-19E23DF2CBBA}"/>
    <pc:docChg chg="modMainMaster">
      <pc:chgData name="Maddalena Lauzi" userId="557e88c1-5a49-4d16-a40c-0dc96e651537" providerId="ADAL" clId="{38B30FB9-4AF7-4A68-9859-19E23DF2CBBA}" dt="2023-02-19T15:32:24.506" v="0" actId="478"/>
      <pc:docMkLst>
        <pc:docMk/>
      </pc:docMkLst>
      <pc:sldMasterChg chg="modSldLayout">
        <pc:chgData name="Maddalena Lauzi" userId="557e88c1-5a49-4d16-a40c-0dc96e651537" providerId="ADAL" clId="{38B30FB9-4AF7-4A68-9859-19E23DF2CBBA}" dt="2023-02-19T15:32:24.506" v="0" actId="478"/>
        <pc:sldMasterMkLst>
          <pc:docMk/>
          <pc:sldMasterMk cId="3508826660" sldId="2147483648"/>
        </pc:sldMasterMkLst>
        <pc:sldLayoutChg chg="delSp">
          <pc:chgData name="Maddalena Lauzi" userId="557e88c1-5a49-4d16-a40c-0dc96e651537" providerId="ADAL" clId="{38B30FB9-4AF7-4A68-9859-19E23DF2CBBA}" dt="2023-02-19T15:32:24.506" v="0" actId="478"/>
          <pc:sldLayoutMkLst>
            <pc:docMk/>
            <pc:sldMasterMk cId="3508826660" sldId="2147483648"/>
            <pc:sldLayoutMk cId="3850505186" sldId="2147483660"/>
          </pc:sldLayoutMkLst>
          <pc:picChg chg="del">
            <ac:chgData name="Maddalena Lauzi" userId="557e88c1-5a49-4d16-a40c-0dc96e651537" providerId="ADAL" clId="{38B30FB9-4AF7-4A68-9859-19E23DF2CBBA}" dt="2023-02-19T15:32:24.506" v="0" actId="478"/>
            <ac:picMkLst>
              <pc:docMk/>
              <pc:sldMasterMk cId="3508826660" sldId="2147483648"/>
              <pc:sldLayoutMk cId="3850505186" sldId="2147483660"/>
              <ac:picMk id="12" creationId="{E36CC818-56C7-454E-9FC7-EB99E68D0FD0}"/>
            </ac:picMkLst>
          </pc:pic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71" progId="TCLayout.ActiveDocument.1">
                  <p:embed/>
                </p:oleObj>
              </mc:Choice>
              <mc:Fallback>
                <p:oleObj name="think-cell Slide" r:id="rId3" imgW="470" imgH="47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66080" y="6642000"/>
            <a:ext cx="1182592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 b="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4072A021-F92E-41BE-AB34-1F07FF85E57E}" type="slidenum">
              <a:rPr lang="en-US" smtClean="0"/>
              <a:pPr/>
              <a:t>‹#›</a:t>
            </a:fld>
            <a:r>
              <a:rPr lang="en-US"/>
              <a:t> | Deloitte Digital, HI Capital, </a:t>
            </a:r>
            <a:r>
              <a:rPr lang="en-US" err="1"/>
              <a:t>Dealroom</a:t>
            </a:r>
            <a:endParaRPr lang="en-US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75792" y="256118"/>
            <a:ext cx="8890000" cy="4529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667" b="1">
                <a:solidFill>
                  <a:srgbClr val="5439A2"/>
                </a:solidFill>
              </a:defRPr>
            </a:lvl1pPr>
            <a:lvl2pPr marL="262434" indent="0">
              <a:buNone/>
              <a:defRPr/>
            </a:lvl2pPr>
            <a:lvl3pPr marL="512170" indent="0">
              <a:buNone/>
              <a:defRPr/>
            </a:lvl3pPr>
            <a:lvl4pPr marL="770370" indent="0">
              <a:buNone/>
              <a:defRPr/>
            </a:lvl4pPr>
            <a:lvl5pPr marL="1028571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75308" y="738513"/>
            <a:ext cx="11241384" cy="3471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67" b="1">
                <a:solidFill>
                  <a:srgbClr val="9580D2"/>
                </a:solidFill>
              </a:defRPr>
            </a:lvl1pPr>
            <a:lvl2pPr marL="262434" indent="0">
              <a:buNone/>
              <a:defRPr/>
            </a:lvl2pPr>
            <a:lvl3pPr marL="512170" indent="0">
              <a:buNone/>
              <a:defRPr/>
            </a:lvl3pPr>
            <a:lvl4pPr marL="770370" indent="0">
              <a:buNone/>
              <a:defRPr/>
            </a:lvl4pPr>
            <a:lvl5pPr marL="1028571" indent="0">
              <a:buNone/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9D7929-6982-4C59-8606-0FB0E0F1BA1F}"/>
              </a:ext>
            </a:extLst>
          </p:cNvPr>
          <p:cNvSpPr/>
          <p:nvPr userDrawn="1"/>
        </p:nvSpPr>
        <p:spPr>
          <a:xfrm>
            <a:off x="334435" y="255590"/>
            <a:ext cx="63428" cy="830057"/>
          </a:xfrm>
          <a:prstGeom prst="rect">
            <a:avLst/>
          </a:prstGeom>
          <a:solidFill>
            <a:srgbClr val="5439A2"/>
          </a:solidFill>
          <a:ln w="9525" cap="flat" cmpd="sng" algn="ctr">
            <a:solidFill>
              <a:srgbClr val="5439A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32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50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877AFF-ACC0-4FE9-BB30-2634A7969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198D1-F3EA-4E4F-BA49-A0EA69AA9A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BD830-D5DE-4E9D-8D8C-6DE014C87E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318DC7-3FF9-491C-A86F-448E41E4955A}" type="datetimeFigureOut">
              <a:rPr lang="en-CH" smtClean="0"/>
              <a:t>02/19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A6E048-0195-431C-8C93-FBE7E4A5B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56482-AEEF-40E6-A632-4332F70CB7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DD4659-A974-4186-8450-F53FAD74F531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08826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4F15A03-4D8F-448E-9329-6E01DD9E6BFB}"/>
              </a:ext>
            </a:extLst>
          </p:cNvPr>
          <p:cNvSpPr/>
          <p:nvPr/>
        </p:nvSpPr>
        <p:spPr bwMode="auto">
          <a:xfrm>
            <a:off x="2549816" y="1329876"/>
            <a:ext cx="6136173" cy="513207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8BE301-A358-4168-8CF7-0045893AA784}"/>
              </a:ext>
            </a:extLst>
          </p:cNvPr>
          <p:cNvSpPr/>
          <p:nvPr/>
        </p:nvSpPr>
        <p:spPr bwMode="auto">
          <a:xfrm>
            <a:off x="306766" y="1329875"/>
            <a:ext cx="2082473" cy="513152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DFA1E6-CB1F-4E8E-B515-78998319FD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650"/>
              <a:t>Startup name</a:t>
            </a:r>
            <a:endParaRPr lang="en-CH" sz="265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D1B81D5C-A598-4D6B-93A9-E90B3DD2A33C}"/>
              </a:ext>
            </a:extLst>
          </p:cNvPr>
          <p:cNvSpPr txBox="1">
            <a:spLocks/>
          </p:cNvSpPr>
          <p:nvPr/>
        </p:nvSpPr>
        <p:spPr>
          <a:xfrm>
            <a:off x="475792" y="716606"/>
            <a:ext cx="10203948" cy="4821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1288" indent="-1412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9875" indent="-122238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Montserrat" panose="00000500000000000000" pitchFamily="2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7988" indent="-138113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23825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Montserrat" panose="00000500000000000000" pitchFamily="2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i="1">
                <a:solidFill>
                  <a:srgbClr val="9580D2"/>
                </a:solidFill>
              </a:rPr>
              <a:t>1 line description of the company/solution</a:t>
            </a:r>
          </a:p>
          <a:p>
            <a:endParaRPr lang="en-US" i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426D8F-4EE0-46A4-BA7C-F9BDE838015F}"/>
              </a:ext>
            </a:extLst>
          </p:cNvPr>
          <p:cNvSpPr/>
          <p:nvPr/>
        </p:nvSpPr>
        <p:spPr>
          <a:xfrm>
            <a:off x="690562" y="3013529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Calibri" panose="020F0502020204030204" pitchFamily="34" charset="0"/>
                <a:cs typeface="Arial" panose="020B0604020202020204" pitchFamily="34" charset="0"/>
              </a:rPr>
              <a:t>Name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ea typeface="Calibri" panose="020F0502020204030204" pitchFamily="34" charset="0"/>
                <a:cs typeface="Arial" panose="020B0604020202020204" pitchFamily="34" charset="0"/>
              </a:rPr>
              <a:t>Insert Nam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39A6B7-6FE9-44FE-8AFD-2F2155620DBD}"/>
              </a:ext>
            </a:extLst>
          </p:cNvPr>
          <p:cNvSpPr/>
          <p:nvPr/>
        </p:nvSpPr>
        <p:spPr>
          <a:xfrm>
            <a:off x="2636702" y="1329876"/>
            <a:ext cx="6049287" cy="49449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 panose="020B0604020202020204" pitchFamily="34" charset="0"/>
              </a:rPr>
              <a:t>Business model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/>
              </a:rPr>
              <a:t> </a:t>
            </a:r>
            <a:r>
              <a:rPr lang="en-GB" sz="1200" i="1">
                <a:latin typeface="Open Sans"/>
                <a:ea typeface="Roboto"/>
                <a:cs typeface="Arial"/>
              </a:rPr>
              <a:t>4 lines description of your business model. (</a:t>
            </a:r>
            <a:r>
              <a:rPr lang="en-GB" sz="1200" i="1" err="1">
                <a:latin typeface="Open Sans"/>
                <a:ea typeface="Roboto"/>
                <a:cs typeface="Arial"/>
              </a:rPr>
              <a:t>e.g</a:t>
            </a:r>
            <a:r>
              <a:rPr lang="en-GB" sz="1200" i="1">
                <a:latin typeface="Open Sans"/>
                <a:ea typeface="Roboto"/>
                <a:cs typeface="Arial"/>
              </a:rPr>
              <a:t>: Software product with subscription per active user, implementation &amp; consulting services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ea typeface="Roboto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ea typeface="Roboto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ea typeface="Roboto"/>
                <a:cs typeface="Arial" panose="020B0604020202020204" pitchFamily="34" charset="0"/>
              </a:rPr>
              <a:t>Market size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Description of the market + size + growth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Target customers/typical users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Competitive advantages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1 line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Financials 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Number of customers and revenues model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Team </a:t>
            </a:r>
            <a:r>
              <a:rPr lang="en-GB" sz="1200" i="1">
                <a:latin typeface="Open Sans"/>
                <a:cs typeface="Arial" panose="020B0604020202020204" pitchFamily="34" charset="0"/>
              </a:rPr>
              <a:t>Pictures + jobs + small description</a:t>
            </a: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  <a:p>
            <a:pPr>
              <a:spcBef>
                <a:spcPts val="208"/>
              </a:spcBef>
              <a:spcAft>
                <a:spcPts val="208"/>
              </a:spcAft>
            </a:pPr>
            <a:endParaRPr lang="en-GB" sz="1200" i="1">
              <a:latin typeface="Open Sans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16B161-6A2B-4FF3-B22F-39EB371B3F22}"/>
              </a:ext>
            </a:extLst>
          </p:cNvPr>
          <p:cNvSpPr/>
          <p:nvPr/>
        </p:nvSpPr>
        <p:spPr>
          <a:xfrm>
            <a:off x="690562" y="3613955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Founded in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Insert data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524BA3-75EB-405F-9790-BC843F0BAD92}"/>
              </a:ext>
            </a:extLst>
          </p:cNvPr>
          <p:cNvSpPr/>
          <p:nvPr/>
        </p:nvSpPr>
        <p:spPr>
          <a:xfrm>
            <a:off x="750733" y="5599898"/>
            <a:ext cx="1165533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latin typeface="Open Sans"/>
                <a:cs typeface="Arial" panose="020B0604020202020204" pitchFamily="34" charset="0"/>
              </a:rPr>
              <a:t>Contact: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latin typeface="Open Sans"/>
                <a:cs typeface="Arial" panose="020B0604020202020204" pitchFamily="34" charset="0"/>
              </a:rPr>
              <a:t>Company emai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774055-F222-4100-A921-0B10993FE2B6}"/>
              </a:ext>
            </a:extLst>
          </p:cNvPr>
          <p:cNvSpPr/>
          <p:nvPr/>
        </p:nvSpPr>
        <p:spPr>
          <a:xfrm>
            <a:off x="690562" y="4214381"/>
            <a:ext cx="1285875" cy="51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HQ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Insert Loc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A99BCB-3576-4318-857F-5A210CB00FAB}"/>
              </a:ext>
            </a:extLst>
          </p:cNvPr>
          <p:cNvSpPr/>
          <p:nvPr/>
        </p:nvSpPr>
        <p:spPr>
          <a:xfrm>
            <a:off x="690562" y="4814807"/>
            <a:ext cx="1285875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b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Size: </a:t>
            </a:r>
          </a:p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200" i="1">
                <a:solidFill>
                  <a:srgbClr val="000000"/>
                </a:solidFill>
                <a:latin typeface="Open Sans"/>
                <a:ea typeface="Roboto"/>
                <a:cs typeface="Arial" panose="020B0604020202020204" pitchFamily="34" charset="0"/>
              </a:rPr>
              <a:t>Number of employee </a:t>
            </a:r>
            <a:endParaRPr lang="en-GB" sz="1200" i="1">
              <a:latin typeface="Open Sans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2F7671C2-2A55-46A7-BD6B-610F8E7FA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82" y="1329876"/>
            <a:ext cx="1672035" cy="125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E83C622-B640-48A2-BD5F-E512FD98D251}"/>
              </a:ext>
            </a:extLst>
          </p:cNvPr>
          <p:cNvSpPr/>
          <p:nvPr/>
        </p:nvSpPr>
        <p:spPr bwMode="auto">
          <a:xfrm>
            <a:off x="8846566" y="1329876"/>
            <a:ext cx="2922647" cy="5136970"/>
          </a:xfrm>
          <a:prstGeom prst="rect">
            <a:avLst/>
          </a:prstGeom>
          <a:solidFill>
            <a:srgbClr val="D9D1E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CH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6783CF-3C26-46E5-B14A-BD2BFA45216A}"/>
              </a:ext>
            </a:extLst>
          </p:cNvPr>
          <p:cNvSpPr/>
          <p:nvPr/>
        </p:nvSpPr>
        <p:spPr>
          <a:xfrm>
            <a:off x="8846566" y="1329876"/>
            <a:ext cx="29226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08"/>
              </a:spcBef>
              <a:spcAft>
                <a:spcPts val="208"/>
              </a:spcAft>
            </a:pPr>
            <a:r>
              <a:rPr lang="en-GB" sz="1600" b="1">
                <a:solidFill>
                  <a:srgbClr val="5439A2"/>
                </a:solidFill>
                <a:latin typeface="Open Sans"/>
                <a:ea typeface="Roboto"/>
                <a:cs typeface="Arial" panose="020B0604020202020204" pitchFamily="34" charset="0"/>
              </a:rPr>
              <a:t>FUNDING ROUND</a:t>
            </a:r>
            <a:endParaRPr lang="en-GB" sz="1600" i="1">
              <a:solidFill>
                <a:srgbClr val="5439A2"/>
              </a:solidFill>
              <a:latin typeface="Open Sans"/>
              <a:ea typeface="Roboto"/>
              <a:cs typeface="Arial" panose="020B0604020202020204" pitchFamily="34" charset="0"/>
            </a:endParaRPr>
          </a:p>
        </p:txBody>
      </p:sp>
      <p:sp>
        <p:nvSpPr>
          <p:cNvPr id="23" name="ZoneTexte 33">
            <a:extLst>
              <a:ext uri="{FF2B5EF4-FFF2-40B4-BE49-F238E27FC236}">
                <a16:creationId xmlns:a16="http://schemas.microsoft.com/office/drawing/2014/main" id="{D04A2A88-220F-4740-9548-95981141EB48}"/>
              </a:ext>
            </a:extLst>
          </p:cNvPr>
          <p:cNvSpPr txBox="1"/>
          <p:nvPr/>
        </p:nvSpPr>
        <p:spPr>
          <a:xfrm>
            <a:off x="8846566" y="1499051"/>
            <a:ext cx="2922647" cy="4962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sng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Round size </a:t>
            </a:r>
            <a:endParaRPr lang="en-US" sz="1200" b="1" u="sng"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Raising $XXM Series A round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Amount committed by EIC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Amount raised from private investors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 u="sng"/>
          </a:p>
          <a:p>
            <a:pPr algn="l">
              <a:spcBef>
                <a:spcPts val="300"/>
              </a:spcBef>
            </a:pPr>
            <a:endParaRPr kumimoji="0" lang="en-US" sz="1200" b="1" i="0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Round closing date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Q2 2022</a:t>
            </a:r>
          </a:p>
          <a:p>
            <a:pPr algn="l">
              <a:spcBef>
                <a:spcPts val="300"/>
              </a:spcBef>
            </a:pP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1" i="0">
                <a:effectLst/>
              </a:rPr>
              <a:t>Use of funds </a:t>
            </a:r>
          </a:p>
          <a:p>
            <a:pPr algn="l">
              <a:spcBef>
                <a:spcPts val="300"/>
              </a:spcBef>
            </a:pPr>
            <a:r>
              <a:rPr lang="en-US" sz="1200" b="0" i="0" err="1">
                <a:effectLst/>
              </a:rPr>
              <a:t>Xxx</a:t>
            </a: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r>
              <a:rPr lang="en-US" sz="1200" err="1"/>
              <a:t>Xxx</a:t>
            </a: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0" i="0" err="1">
                <a:effectLst/>
              </a:rPr>
              <a:t>Xxx</a:t>
            </a:r>
            <a:endParaRPr lang="en-US" sz="1200" b="0" i="0">
              <a:effectLst/>
            </a:endParaRPr>
          </a:p>
          <a:p>
            <a:pPr algn="l">
              <a:spcBef>
                <a:spcPts val="300"/>
              </a:spcBef>
            </a:pPr>
            <a:r>
              <a:rPr lang="en-US" sz="1200" err="1"/>
              <a:t>Xxx</a:t>
            </a:r>
            <a:endParaRPr lang="en-US" sz="1200"/>
          </a:p>
          <a:p>
            <a:pPr algn="l">
              <a:spcBef>
                <a:spcPts val="300"/>
              </a:spcBef>
            </a:pPr>
            <a:r>
              <a:rPr lang="en-US" sz="1200" b="0" i="0">
                <a:effectLst/>
              </a:rPr>
              <a:t>xxx</a:t>
            </a:r>
          </a:p>
          <a:p>
            <a:pPr algn="l">
              <a:spcBef>
                <a:spcPts val="300"/>
              </a:spcBef>
            </a:pPr>
            <a:endParaRPr lang="en-US" sz="1200" b="1" u="sng">
              <a:cs typeface="Calibri" panose="020F0502020204030204" pitchFamily="34" charset="0"/>
            </a:endParaRP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Previous funding rounds 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2020: Ser A   $4M  from xxx</a:t>
            </a:r>
          </a:p>
          <a:p>
            <a:pPr marR="0" lvl="0" algn="just" defTabSz="914400" rtl="0" eaLnBrk="1" fontAlgn="auto" latinLnBrk="0" hangingPunct="1">
              <a:spcBef>
                <a:spcPts val="300"/>
              </a:spcBef>
              <a:buClrTx/>
              <a:buSzTx/>
              <a:tabLst/>
              <a:defRPr/>
            </a:pPr>
            <a:r>
              <a:rPr lang="en-US" sz="1200" i="1">
                <a:cs typeface="Segoe UI" panose="020B0502040204020203" pitchFamily="34" charset="0"/>
              </a:rPr>
              <a:t>2019: Seed   $1.2M from xxx</a:t>
            </a:r>
          </a:p>
          <a:p>
            <a:pPr marL="171450" marR="0" lvl="0" indent="-171450" algn="just" defTabSz="914400" rtl="0" eaLnBrk="1" fontAlgn="auto" latinLnBrk="0" hangingPunct="1">
              <a:spcBef>
                <a:spcPts val="3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sng" strike="noStrike" kern="1200" cap="none" spc="0" normalizeH="0" baseline="0" noProof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1E5D03C-5C94-4E4E-AA66-3A8E07805F23}"/>
              </a:ext>
            </a:extLst>
          </p:cNvPr>
          <p:cNvSpPr txBox="1"/>
          <p:nvPr/>
        </p:nvSpPr>
        <p:spPr>
          <a:xfrm>
            <a:off x="6459243" y="5070746"/>
            <a:ext cx="17113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1 CTO</a:t>
            </a:r>
            <a:r>
              <a:rPr lang="en-US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2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Product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3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Supply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  <a:p>
            <a:pPr algn="l" rtl="0" fontAlgn="base"/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+3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Customer</a:t>
            </a:r>
            <a:r>
              <a:rPr lang="pt-PT" sz="1200" b="0" i="1" u="none" strike="noStrike">
                <a:solidFill>
                  <a:srgbClr val="000000"/>
                </a:solidFill>
                <a:effectLst/>
                <a:latin typeface="+mj-lt"/>
              </a:rPr>
              <a:t> </a:t>
            </a:r>
            <a:r>
              <a:rPr lang="pt-PT" sz="1200" b="0" i="1" u="none" strike="noStrike" err="1">
                <a:solidFill>
                  <a:srgbClr val="000000"/>
                </a:solidFill>
                <a:effectLst/>
                <a:latin typeface="+mj-lt"/>
              </a:rPr>
              <a:t>Success</a:t>
            </a:r>
            <a:r>
              <a:rPr lang="pt-PT" sz="1200" b="0" i="0">
                <a:solidFill>
                  <a:srgbClr val="000000"/>
                </a:solidFill>
                <a:effectLst/>
                <a:latin typeface="+mj-lt"/>
              </a:rPr>
              <a:t>​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9CF2C0-8F6D-4725-A4F1-6BDC324F8B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7127" y="5193985"/>
            <a:ext cx="804681" cy="66827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17A3A4C-6092-4C00-8265-A5C71A4548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1360" y="5193985"/>
            <a:ext cx="804681" cy="66827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DA82AE8-299C-47A1-87F4-DD89D4F58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5593" y="5178295"/>
            <a:ext cx="804681" cy="668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0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2783F89DD43549B75F7870505D7790" ma:contentTypeVersion="16" ma:contentTypeDescription="Create a new document." ma:contentTypeScope="" ma:versionID="0c68bc5946c5e0beba8bb25a08ce2b0f">
  <xsd:schema xmlns:xsd="http://www.w3.org/2001/XMLSchema" xmlns:xs="http://www.w3.org/2001/XMLSchema" xmlns:p="http://schemas.microsoft.com/office/2006/metadata/properties" xmlns:ns2="4382ca55-cbf9-4db4-8fb5-aebfbeff3085" xmlns:ns3="b285f51e-8971-483f-bde8-1a8f65b63003" targetNamespace="http://schemas.microsoft.com/office/2006/metadata/properties" ma:root="true" ma:fieldsID="570f37fe8a4d5cd46e02e6ec38a55ba1" ns2:_="" ns3:_="">
    <xsd:import namespace="4382ca55-cbf9-4db4-8fb5-aebfbeff3085"/>
    <xsd:import namespace="b285f51e-8971-483f-bde8-1a8f65b630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2ca55-cbf9-4db4-8fb5-aebfbeff30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8002ce1-0b15-4407-ba37-ad5699beef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85f51e-8971-483f-bde8-1a8f65b6300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20000a-726c-4027-8308-8f6e39d208a1}" ma:internalName="TaxCatchAll" ma:showField="CatchAllData" ma:web="b285f51e-8971-483f-bde8-1a8f65b630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82ca55-cbf9-4db4-8fb5-aebfbeff3085">
      <Terms xmlns="http://schemas.microsoft.com/office/infopath/2007/PartnerControls"/>
    </lcf76f155ced4ddcb4097134ff3c332f>
    <TaxCatchAll xmlns="b285f51e-8971-483f-bde8-1a8f65b630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102956-EE4D-4B33-A90C-BEF6C672F785}">
  <ds:schemaRefs>
    <ds:schemaRef ds:uri="4382ca55-cbf9-4db4-8fb5-aebfbeff3085"/>
    <ds:schemaRef ds:uri="b285f51e-8971-483f-bde8-1a8f65b630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556DF04-1A61-4933-9F73-5911CB4421A9}">
  <ds:schemaRefs>
    <ds:schemaRef ds:uri="4382ca55-cbf9-4db4-8fb5-aebfbeff3085"/>
    <ds:schemaRef ds:uri="b285f51e-8971-483f-bde8-1a8f65b63003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86DC261-B0F8-40E2-B376-604AD6C2E5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Open Sans</vt:lpstr>
      <vt:lpstr>Verdana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 Gabouleaud</dc:creator>
  <cp:lastModifiedBy>Maddalena Lauzi</cp:lastModifiedBy>
  <cp:revision>2</cp:revision>
  <dcterms:created xsi:type="dcterms:W3CDTF">2022-02-17T18:23:31Z</dcterms:created>
  <dcterms:modified xsi:type="dcterms:W3CDTF">2023-02-19T15:3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2783F89DD43549B75F7870505D7790</vt:lpwstr>
  </property>
  <property fmtid="{D5CDD505-2E9C-101B-9397-08002B2CF9AE}" pid="3" name="MediaServiceImageTags">
    <vt:lpwstr/>
  </property>
</Properties>
</file>